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413" r:id="rId2"/>
    <p:sldId id="467" r:id="rId3"/>
    <p:sldId id="514" r:id="rId4"/>
    <p:sldId id="468" r:id="rId5"/>
    <p:sldId id="469" r:id="rId6"/>
    <p:sldId id="471" r:id="rId7"/>
    <p:sldId id="472" r:id="rId8"/>
    <p:sldId id="473" r:id="rId9"/>
    <p:sldId id="474" r:id="rId10"/>
    <p:sldId id="475" r:id="rId11"/>
    <p:sldId id="476" r:id="rId12"/>
    <p:sldId id="477" r:id="rId13"/>
    <p:sldId id="478" r:id="rId14"/>
    <p:sldId id="479" r:id="rId15"/>
    <p:sldId id="480" r:id="rId16"/>
    <p:sldId id="481" r:id="rId17"/>
    <p:sldId id="482" r:id="rId18"/>
    <p:sldId id="483" r:id="rId19"/>
    <p:sldId id="484" r:id="rId20"/>
    <p:sldId id="485" r:id="rId21"/>
    <p:sldId id="486" r:id="rId22"/>
    <p:sldId id="487" r:id="rId23"/>
    <p:sldId id="488" r:id="rId24"/>
    <p:sldId id="502" r:id="rId25"/>
    <p:sldId id="503" r:id="rId26"/>
    <p:sldId id="519" r:id="rId27"/>
    <p:sldId id="504" r:id="rId28"/>
    <p:sldId id="505" r:id="rId29"/>
    <p:sldId id="526" r:id="rId30"/>
    <p:sldId id="527" r:id="rId31"/>
    <p:sldId id="528" r:id="rId32"/>
    <p:sldId id="520" r:id="rId33"/>
    <p:sldId id="510" r:id="rId34"/>
    <p:sldId id="521" r:id="rId35"/>
    <p:sldId id="522" r:id="rId36"/>
    <p:sldId id="530" r:id="rId37"/>
    <p:sldId id="513" r:id="rId38"/>
    <p:sldId id="531" r:id="rId39"/>
    <p:sldId id="532" r:id="rId40"/>
    <p:sldId id="515" r:id="rId41"/>
    <p:sldId id="516" r:id="rId42"/>
    <p:sldId id="517" r:id="rId43"/>
    <p:sldId id="518" r:id="rId44"/>
    <p:sldId id="523" r:id="rId45"/>
    <p:sldId id="529" r:id="rId46"/>
    <p:sldId id="491" r:id="rId47"/>
    <p:sldId id="500" r:id="rId48"/>
    <p:sldId id="493" r:id="rId49"/>
    <p:sldId id="501" r:id="rId50"/>
  </p:sldIdLst>
  <p:sldSz cx="12192000" cy="6858000"/>
  <p:notesSz cx="7315200" cy="9601200"/>
  <p:custDataLst>
    <p:tags r:id="rId53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99" autoAdjust="0"/>
  </p:normalViewPr>
  <p:slideViewPr>
    <p:cSldViewPr snapToGrid="0" showGuides="1">
      <p:cViewPr>
        <p:scale>
          <a:sx n="100" d="100"/>
          <a:sy n="100" d="100"/>
        </p:scale>
        <p:origin x="2628" y="1560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28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º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2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513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499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10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5789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448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24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65547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28924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52363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3311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398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067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8924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2412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24101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9457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33213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096138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16722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3614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5485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630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8372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0342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52845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4284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1829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6232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584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819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726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902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4447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94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650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00" y="499858"/>
            <a:ext cx="216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00" y="500091"/>
            <a:ext cx="216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00" y="499858"/>
            <a:ext cx="216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00" y="500091"/>
            <a:ext cx="2160000" cy="71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76702461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 noProof="0" smtClean="0"/>
              <a:t>Clic para editar título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rollupjs.org/guide/en/" TargetMode="External"/><Relationship Id="rId2" Type="http://schemas.openxmlformats.org/officeDocument/2006/relationships/hyperlink" Target="http://www.rich-harris.co.uk/" TargetMode="Externa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5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www.freecodecamp.org/news/a-realworld-comparison-of-front-end-frameworks-with-benchmarks-2019-update-4be0d3c78075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svelte.dev/blog/virtual-dom-is-pure-overhead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storybook.js.org/docs/guides/guide-svelte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smeltejs.com/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2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sveltejs/sapper" TargetMode="External"/><Relationship Id="rId13" Type="http://schemas.openxmlformats.org/officeDocument/2006/relationships/hyperlink" Target="https://github.com/EmilTholin/svelte-routing" TargetMode="External"/><Relationship Id="rId18" Type="http://schemas.openxmlformats.org/officeDocument/2006/relationships/hyperlink" Target="https://marketplace.visualstudio.com/items?itemName=fivethree.vscode-svelte-snippets" TargetMode="External"/><Relationship Id="rId26" Type="http://schemas.openxmlformats.org/officeDocument/2006/relationships/hyperlink" Target="https://objectcomputing.com/resources/publications/sett/july-2019-web-dev-simplified-with-svelte" TargetMode="External"/><Relationship Id="rId3" Type="http://schemas.openxmlformats.org/officeDocument/2006/relationships/hyperlink" Target="https://svelte.dev/tutorial/basics" TargetMode="External"/><Relationship Id="rId21" Type="http://schemas.openxmlformats.org/officeDocument/2006/relationships/hyperlink" Target="https://parceljs.org/" TargetMode="External"/><Relationship Id="rId7" Type="http://schemas.openxmlformats.org/officeDocument/2006/relationships/hyperlink" Target="https://github.com/sveltejs/svelte/issues/2621" TargetMode="External"/><Relationship Id="rId12" Type="http://schemas.openxmlformats.org/officeDocument/2006/relationships/hyperlink" Target="https://svelte.dev/blog/svelte-3-rethinking-reactivity" TargetMode="External"/><Relationship Id="rId17" Type="http://schemas.openxmlformats.org/officeDocument/2006/relationships/hyperlink" Target="https://marketplace.visualstudio.com/items?itemName=ardenivanov.svelte-intellisense" TargetMode="External"/><Relationship Id="rId25" Type="http://schemas.openxmlformats.org/officeDocument/2006/relationships/hyperlink" Target="https://github.com/Rich-Harris/degit" TargetMode="External"/><Relationship Id="rId2" Type="http://schemas.openxmlformats.org/officeDocument/2006/relationships/hyperlink" Target="https://svelte.dev/" TargetMode="External"/><Relationship Id="rId16" Type="http://schemas.openxmlformats.org/officeDocument/2006/relationships/hyperlink" Target="https://marketplace.visualstudio.com/items?itemName=JamesBirtles.svelte-vscode" TargetMode="External"/><Relationship Id="rId20" Type="http://schemas.openxmlformats.org/officeDocument/2006/relationships/hyperlink" Target="https://rollupjs.org/guide/en/" TargetMode="External"/><Relationship Id="rId29" Type="http://schemas.openxmlformats.org/officeDocument/2006/relationships/hyperlink" Target="https://midu.dev/crea-un-nuevo-proyect-con-svelte-3/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svelte.dev/docs" TargetMode="External"/><Relationship Id="rId11" Type="http://schemas.openxmlformats.org/officeDocument/2006/relationships/hyperlink" Target="https://discordapp.com/invite/yy75DKs" TargetMode="External"/><Relationship Id="rId24" Type="http://schemas.openxmlformats.org/officeDocument/2006/relationships/hyperlink" Target="https://es.reactjs.org/docs/components-and-props.html" TargetMode="External"/><Relationship Id="rId5" Type="http://schemas.openxmlformats.org/officeDocument/2006/relationships/hyperlink" Target="https://svelte-native.technology/" TargetMode="External"/><Relationship Id="rId15" Type="http://schemas.openxmlformats.org/officeDocument/2006/relationships/hyperlink" Target="https://code.visualstudio.com/" TargetMode="External"/><Relationship Id="rId23" Type="http://schemas.openxmlformats.org/officeDocument/2006/relationships/hyperlink" Target="https://medium.com/js-imaginea/comparing-bundlers-webpack-rollup-parcel-f8f5dc609cfd" TargetMode="External"/><Relationship Id="rId28" Type="http://schemas.openxmlformats.org/officeDocument/2006/relationships/hyperlink" Target="https://platzi.com/blog/svelte-un-nuevo-framework-para-crear-aplicaciones-web-mejoradas/" TargetMode="External"/><Relationship Id="rId10" Type="http://schemas.openxmlformats.org/officeDocument/2006/relationships/hyperlink" Target="https://svelte.dev/repl" TargetMode="External"/><Relationship Id="rId19" Type="http://schemas.openxmlformats.org/officeDocument/2006/relationships/hyperlink" Target="https://yarnpkg.com/lang/en/" TargetMode="External"/><Relationship Id="rId4" Type="http://schemas.openxmlformats.org/officeDocument/2006/relationships/hyperlink" Target="http://svelte.es/" TargetMode="External"/><Relationship Id="rId9" Type="http://schemas.openxmlformats.org/officeDocument/2006/relationships/hyperlink" Target="https://svelte.dev/examples#hello-world" TargetMode="External"/><Relationship Id="rId14" Type="http://schemas.openxmlformats.org/officeDocument/2006/relationships/hyperlink" Target="https://svelte.dev/tutorial/writable-stores" TargetMode="External"/><Relationship Id="rId22" Type="http://schemas.openxmlformats.org/officeDocument/2006/relationships/hyperlink" Target="https://webpack.js.org/" TargetMode="External"/><Relationship Id="rId27" Type="http://schemas.openxmlformats.org/officeDocument/2006/relationships/hyperlink" Target="https://www.nocountryforgeeks.com/jugando-con-svelte/" TargetMode="Externa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 err="1"/>
              <a:t>Consulting</a:t>
            </a:r>
            <a:r>
              <a:rPr lang="es-ES" dirty="0"/>
              <a:t> - </a:t>
            </a:r>
            <a:r>
              <a:rPr lang="es-ES" dirty="0" err="1"/>
              <a:t>Tecnologia</a:t>
            </a:r>
            <a:r>
              <a:rPr lang="es-ES" dirty="0"/>
              <a:t> </a:t>
            </a:r>
            <a:r>
              <a:rPr lang="es-ES" dirty="0" smtClean="0"/>
              <a:t>– STS - </a:t>
            </a:r>
            <a:r>
              <a:rPr lang="es-ES" dirty="0" err="1" smtClean="0"/>
              <a:t>Specialist</a:t>
            </a:r>
            <a:r>
              <a:rPr lang="es-ES" dirty="0" smtClean="0"/>
              <a:t> Lead</a:t>
            </a:r>
            <a:endParaRPr lang="es-E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 smtClean="0"/>
              <a:t>Jesús Cuesta Arza</a:t>
            </a:r>
            <a:endParaRPr lang="es-ES" dirty="0"/>
          </a:p>
        </p:txBody>
      </p:sp>
      <p:pic>
        <p:nvPicPr>
          <p:cNvPr id="3074" name="Picture 2" descr="Introducción a Svelte, un nuevo framework para tu fronte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0615" y="2254301"/>
            <a:ext cx="4319069" cy="233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0145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Quién</a:t>
            </a:r>
            <a:r>
              <a:rPr lang="en-US" noProof="0" dirty="0" smtClean="0"/>
              <a:t> </a:t>
            </a:r>
            <a:r>
              <a:rPr lang="en-US" noProof="0" dirty="0" err="1" smtClean="0"/>
              <a:t>Usa</a:t>
            </a:r>
            <a:r>
              <a:rPr lang="en-US" noProof="0" dirty="0" smtClean="0"/>
              <a:t> Svel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16423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88;p2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886588" y="919251"/>
            <a:ext cx="8596623" cy="50194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3299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Dónde</a:t>
            </a:r>
            <a:r>
              <a:rPr lang="en-US" noProof="0" dirty="0" smtClean="0"/>
              <a:t> se </a:t>
            </a:r>
            <a:r>
              <a:rPr lang="en-US" noProof="0" dirty="0" err="1" smtClean="0"/>
              <a:t>está</a:t>
            </a:r>
            <a:r>
              <a:rPr lang="en-US" noProof="0" dirty="0" smtClean="0"/>
              <a:t> </a:t>
            </a:r>
            <a:r>
              <a:rPr lang="en-US" noProof="0" dirty="0" err="1" smtClean="0"/>
              <a:t>habland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é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4555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Resultado de imagen de jsca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008" y="1723135"/>
            <a:ext cx="2646942" cy="264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https://javascript-conference.com/wp-content/uploads/2019/10/IJS_London20_Website_Logo_Header_53632_v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116" y="2267046"/>
            <a:ext cx="4413008" cy="180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78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Quié</a:t>
            </a:r>
            <a:r>
              <a:rPr lang="en-US" dirty="0" smtClean="0"/>
              <a:t>n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detrá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216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4;p23"/>
          <p:cNvSpPr txBox="1">
            <a:spLocks/>
          </p:cNvSpPr>
          <p:nvPr/>
        </p:nvSpPr>
        <p:spPr>
          <a:xfrm>
            <a:off x="1297500" y="1451325"/>
            <a:ext cx="7038900" cy="302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smtClean="0"/>
              <a:t>Rich Harris: </a:t>
            </a:r>
          </a:p>
          <a:p>
            <a:pPr marL="457200" indent="-311150">
              <a:spcBef>
                <a:spcPts val="160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-"/>
            </a:pPr>
            <a:r>
              <a:rPr lang="en-US" u="sng" smtClean="0">
                <a:solidFill>
                  <a:schemeClr val="hlink"/>
                </a:solidFill>
                <a:hlinkClick r:id="rId2"/>
              </a:rPr>
              <a:t>http://www.rich-harris.co.uk/</a:t>
            </a:r>
            <a:endParaRPr lang="en-US" smtClean="0"/>
          </a:p>
          <a:p>
            <a:pPr>
              <a:spcBef>
                <a:spcPts val="1600"/>
              </a:spcBef>
              <a:spcAft>
                <a:spcPts val="0"/>
              </a:spcAft>
            </a:pPr>
            <a:endParaRPr lang="en-US" smtClean="0"/>
          </a:p>
          <a:p>
            <a:pPr marL="457200" indent="-311150">
              <a:spcBef>
                <a:spcPts val="160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-"/>
            </a:pPr>
            <a:r>
              <a:rPr lang="en-US" smtClean="0"/>
              <a:t>Editor en The New York Times</a:t>
            </a:r>
          </a:p>
          <a:p>
            <a:pPr>
              <a:spcBef>
                <a:spcPts val="1600"/>
              </a:spcBef>
              <a:spcAft>
                <a:spcPts val="0"/>
              </a:spcAft>
            </a:pPr>
            <a:endParaRPr lang="en-US" smtClean="0"/>
          </a:p>
          <a:p>
            <a:pPr marL="457200" indent="-311150">
              <a:spcBef>
                <a:spcPts val="1600"/>
              </a:spcBef>
              <a:spcAft>
                <a:spcPts val="0"/>
              </a:spcAft>
              <a:buSzPts val="1300"/>
              <a:buFont typeface="Arial" panose="020B0604020202020204" pitchFamily="34" charset="0"/>
              <a:buChar char="-"/>
            </a:pPr>
            <a:r>
              <a:rPr lang="en-US" smtClean="0"/>
              <a:t>Colaborador Rollup: </a:t>
            </a:r>
            <a:r>
              <a:rPr lang="en-US" sz="1100" u="sng" smtClean="0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https://rollupjs.org/guide/en/</a:t>
            </a:r>
            <a:endParaRPr lang="en-US" smtClean="0"/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/>
          </a:p>
        </p:txBody>
      </p:sp>
      <p:pic>
        <p:nvPicPr>
          <p:cNvPr id="3" name="Google Shape;195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386838" y="2131654"/>
            <a:ext cx="1822200" cy="1822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26691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200;p2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774463" y="761179"/>
            <a:ext cx="8322848" cy="51633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0973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Cuánto</a:t>
            </a:r>
            <a:r>
              <a:rPr lang="en-US" noProof="0" dirty="0" smtClean="0"/>
              <a:t> </a:t>
            </a:r>
            <a:r>
              <a:rPr lang="en-US" noProof="0" dirty="0" err="1" smtClean="0"/>
              <a:t>tiempo</a:t>
            </a:r>
            <a:r>
              <a:rPr lang="en-US" noProof="0" dirty="0" smtClean="0"/>
              <a:t> </a:t>
            </a:r>
            <a:r>
              <a:rPr lang="en-US" noProof="0" dirty="0" err="1" smtClean="0"/>
              <a:t>Ti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99766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06;p25"/>
          <p:cNvSpPr txBox="1">
            <a:spLocks/>
          </p:cNvSpPr>
          <p:nvPr/>
        </p:nvSpPr>
        <p:spPr>
          <a:xfrm>
            <a:off x="1050587" y="1774256"/>
            <a:ext cx="9144000" cy="2784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algn="ctr">
              <a:spcAft>
                <a:spcPts val="0"/>
              </a:spcAft>
            </a:pPr>
            <a:endParaRPr lang="es-ES" smtClean="0"/>
          </a:p>
          <a:p>
            <a:pPr marL="457200" algn="ctr">
              <a:spcBef>
                <a:spcPts val="1600"/>
              </a:spcBef>
              <a:spcAft>
                <a:spcPts val="0"/>
              </a:spcAft>
            </a:pPr>
            <a:endParaRPr lang="es-ES" smtClean="0"/>
          </a:p>
          <a:p>
            <a:pPr marL="457200" algn="ctr">
              <a:spcBef>
                <a:spcPts val="1600"/>
              </a:spcBef>
              <a:spcAft>
                <a:spcPts val="0"/>
              </a:spcAft>
            </a:pPr>
            <a:r>
              <a:rPr lang="es-ES" sz="1800" smtClean="0"/>
              <a:t>16 Noviembre</a:t>
            </a:r>
          </a:p>
          <a:p>
            <a:pPr marL="457200" algn="ctr">
              <a:spcBef>
                <a:spcPts val="1600"/>
              </a:spcBef>
              <a:spcAft>
                <a:spcPts val="0"/>
              </a:spcAft>
            </a:pPr>
            <a:r>
              <a:rPr lang="es-ES" sz="2400" b="1" smtClean="0"/>
              <a:t>2016</a:t>
            </a:r>
          </a:p>
          <a:p>
            <a:pPr marL="457200">
              <a:spcBef>
                <a:spcPts val="1600"/>
              </a:spcBef>
              <a:spcAft>
                <a:spcPts val="1600"/>
              </a:spcAft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53608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Cómo</a:t>
            </a:r>
            <a:r>
              <a:rPr lang="en-US" noProof="0" dirty="0" smtClean="0"/>
              <a:t> </a:t>
            </a:r>
            <a:r>
              <a:rPr lang="en-US" noProof="0" dirty="0" err="1" smtClean="0"/>
              <a:t>Funcion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8494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3075" y="861961"/>
            <a:ext cx="2823707" cy="3761350"/>
          </a:xfrm>
          <a:prstGeom prst="rect">
            <a:avLst/>
          </a:prstGeom>
        </p:spPr>
      </p:pic>
      <p:sp>
        <p:nvSpPr>
          <p:cNvPr id="7" name="Text Placeholder 3"/>
          <p:cNvSpPr txBox="1">
            <a:spLocks/>
          </p:cNvSpPr>
          <p:nvPr/>
        </p:nvSpPr>
        <p:spPr bwMode="gray">
          <a:xfrm>
            <a:off x="8476090" y="4731026"/>
            <a:ext cx="2083243" cy="5168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85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smtClean="0"/>
              <a:t>Specialist Lead – Cloud</a:t>
            </a:r>
          </a:p>
          <a:p>
            <a:pPr algn="ctr"/>
            <a:endParaRPr lang="en-US" sz="1200" dirty="0" smtClean="0"/>
          </a:p>
          <a:p>
            <a:pPr algn="ctr"/>
            <a:r>
              <a:rPr lang="en-US" sz="1200" dirty="0" smtClean="0"/>
              <a:t>Architect, JS</a:t>
            </a:r>
            <a:r>
              <a:rPr lang="en-US" sz="1200" dirty="0" smtClean="0"/>
              <a:t>, QA, Frontend, Mobile…</a:t>
            </a:r>
          </a:p>
          <a:p>
            <a:pPr lvl="1"/>
            <a:endParaRPr lang="en-US" sz="1200" dirty="0"/>
          </a:p>
        </p:txBody>
      </p:sp>
      <p:pic>
        <p:nvPicPr>
          <p:cNvPr id="10246" name="Picture 6" descr="Resultado de imagen de hackathonlove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305" y="1918527"/>
            <a:ext cx="675861" cy="675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Resultado de imagen de meetup desarrolloadores clou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9178" y="1946693"/>
            <a:ext cx="442962" cy="619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12" descr="Resultado de imagen de openexpo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620" y="2014770"/>
            <a:ext cx="1287403" cy="495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4"/>
          <p:cNvSpPr txBox="1">
            <a:spLocks/>
          </p:cNvSpPr>
          <p:nvPr/>
        </p:nvSpPr>
        <p:spPr>
          <a:xfrm>
            <a:off x="645071" y="1278743"/>
            <a:ext cx="3157220" cy="58707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err="1" smtClean="0">
                <a:solidFill>
                  <a:schemeClr val="bg1"/>
                </a:solidFill>
              </a:rPr>
              <a:t>Comunidades</a:t>
            </a:r>
            <a:endParaRPr lang="en-US" sz="2400" b="1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Content Placeholder 4"/>
          <p:cNvSpPr txBox="1">
            <a:spLocks/>
          </p:cNvSpPr>
          <p:nvPr/>
        </p:nvSpPr>
        <p:spPr>
          <a:xfrm>
            <a:off x="685799" y="3403638"/>
            <a:ext cx="1800649" cy="58707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err="1" smtClean="0">
                <a:solidFill>
                  <a:schemeClr val="bg1"/>
                </a:solidFill>
              </a:rPr>
              <a:t>Ponente</a:t>
            </a:r>
            <a:endParaRPr lang="en-US" sz="2400" b="1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254" name="Picture 14" descr="Resultado de imagen de jsda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365" y="4250856"/>
            <a:ext cx="744841" cy="277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Resultado de imagen de openexpo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950" y="4826493"/>
            <a:ext cx="831670" cy="320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4364" y="4190688"/>
            <a:ext cx="422085" cy="343179"/>
          </a:xfrm>
          <a:prstGeom prst="rect">
            <a:avLst/>
          </a:prstGeom>
        </p:spPr>
      </p:pic>
      <p:pic>
        <p:nvPicPr>
          <p:cNvPr id="10262" name="Picture 22" descr="Resultado de imagen de react alicant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052" y="4757153"/>
            <a:ext cx="490708" cy="490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4" name="Picture 24" descr="Resultado de imagen de commit con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276" y="4164290"/>
            <a:ext cx="395973" cy="395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8" name="Picture 28" descr="Resultado de imagen de eshow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37" b="25456"/>
          <a:stretch/>
        </p:blipFill>
        <p:spPr bwMode="auto">
          <a:xfrm>
            <a:off x="2835545" y="4826493"/>
            <a:ext cx="651961" cy="254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0" name="Picture 30" descr="Resultado de imagen de nexoq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53" y="4168100"/>
            <a:ext cx="392163" cy="39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2291" y="4721163"/>
            <a:ext cx="1317020" cy="465294"/>
          </a:xfrm>
          <a:prstGeom prst="rect">
            <a:avLst/>
          </a:prstGeom>
        </p:spPr>
      </p:pic>
      <p:pic>
        <p:nvPicPr>
          <p:cNvPr id="19" name="Picture 2" descr="Introducción a Svelte, un nuevo framework para tu frontend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38" r="30349" b="23230"/>
          <a:stretch/>
        </p:blipFill>
        <p:spPr bwMode="auto">
          <a:xfrm>
            <a:off x="4232446" y="1844544"/>
            <a:ext cx="801120" cy="823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6612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216;p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188118" y="1188905"/>
            <a:ext cx="4727157" cy="3992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32844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221;p2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782580" y="690498"/>
            <a:ext cx="7620626" cy="40746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334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Requisitos</a:t>
            </a:r>
            <a:r>
              <a:rPr lang="en-US" noProof="0" dirty="0" smtClean="0"/>
              <a:t> </a:t>
            </a:r>
            <a:r>
              <a:rPr lang="en-US" noProof="0" dirty="0" err="1" smtClean="0"/>
              <a:t>técnico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73422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2173895"/>
          </a:xfrm>
        </p:spPr>
        <p:txBody>
          <a:bodyPr/>
          <a:lstStyle/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sz="1800" b="1" dirty="0" smtClean="0"/>
              <a:t>Lenguajes</a:t>
            </a:r>
          </a:p>
          <a:p>
            <a:pPr marL="171450" indent="-1714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dirty="0" smtClean="0"/>
              <a:t>HTML5</a:t>
            </a:r>
          </a:p>
          <a:p>
            <a:pPr marL="171450" indent="-1714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dirty="0" smtClean="0"/>
              <a:t>CSS3</a:t>
            </a:r>
          </a:p>
          <a:p>
            <a:pPr marL="171450" indent="-1714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dirty="0" err="1" smtClean="0"/>
              <a:t>Javascript</a:t>
            </a:r>
            <a:endParaRPr lang="es-ES" sz="1800" dirty="0" smtClean="0"/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394100" y="1656001"/>
            <a:ext cx="5328000" cy="1773000"/>
          </a:xfrm>
        </p:spPr>
        <p:txBody>
          <a:bodyPr/>
          <a:lstStyle/>
          <a:p>
            <a:pPr>
              <a:spcBef>
                <a:spcPts val="1203"/>
              </a:spcBef>
              <a:spcAft>
                <a:spcPts val="0"/>
              </a:spcAft>
            </a:pPr>
            <a:r>
              <a:rPr lang="es-ES" sz="1800" b="1" dirty="0" smtClean="0"/>
              <a:t>Software Necesario</a:t>
            </a:r>
          </a:p>
          <a:p>
            <a:pPr marL="171450" indent="-171450">
              <a:spcBef>
                <a:spcPts val="120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dirty="0" err="1" smtClean="0"/>
              <a:t>Nodejs</a:t>
            </a:r>
            <a:endParaRPr lang="es-ES" sz="1800" dirty="0" smtClean="0"/>
          </a:p>
          <a:p>
            <a:pPr marL="171450" indent="-171450">
              <a:spcBef>
                <a:spcPts val="120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dirty="0" err="1" smtClean="0"/>
              <a:t>Git</a:t>
            </a:r>
            <a:endParaRPr lang="es-ES" sz="1800" dirty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Básicos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Requisitos</a:t>
            </a:r>
            <a:r>
              <a:rPr lang="en-GB" dirty="0" smtClean="0"/>
              <a:t> </a:t>
            </a:r>
            <a:r>
              <a:rPr lang="en-GB" dirty="0" err="1" smtClean="0"/>
              <a:t>técnico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7737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Desventaja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91256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2173895"/>
          </a:xfrm>
        </p:spPr>
        <p:txBody>
          <a:bodyPr/>
          <a:lstStyle/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No Compatible IE11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Configuración muy básica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Empresas que hay detrás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Menos madurez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Comunidad Pequeña</a:t>
            </a:r>
            <a:endParaRPr lang="es-ES" sz="1800" dirty="0" smtClean="0"/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sventajas</a:t>
            </a:r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sz="quarter" idx="10"/>
          </p:nvPr>
        </p:nvSpPr>
        <p:spPr>
          <a:xfrm>
            <a:off x="6329680" y="1665287"/>
            <a:ext cx="5862320" cy="2173895"/>
          </a:xfrm>
        </p:spPr>
        <p:txBody>
          <a:bodyPr/>
          <a:lstStyle/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 smtClean="0"/>
              <a:t>Soporte para móvil con </a:t>
            </a:r>
            <a:r>
              <a:rPr lang="es-ES" sz="1800" b="1" dirty="0" err="1" smtClean="0"/>
              <a:t>Nativescript</a:t>
            </a:r>
            <a:endParaRPr lang="es-ES" sz="1800" b="1" dirty="0" smtClean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 smtClean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Configuración base con </a:t>
            </a:r>
            <a:r>
              <a:rPr lang="es-ES" sz="1800" b="1" dirty="0" err="1"/>
              <a:t>Rollup</a:t>
            </a: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dirty="0" smtClean="0"/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 smtClean="0">
                <a:solidFill>
                  <a:srgbClr val="575757"/>
                </a:solidFill>
              </a:rPr>
              <a:t/>
            </a:r>
            <a:br>
              <a:rPr lang="es-ES" dirty="0" smtClean="0">
                <a:solidFill>
                  <a:srgbClr val="575757"/>
                </a:solidFill>
              </a:rPr>
            </a:br>
            <a:r>
              <a:rPr lang="es-ES" dirty="0" smtClean="0">
                <a:solidFill>
                  <a:srgbClr val="575757"/>
                </a:solidFill>
              </a:rPr>
              <a:t/>
            </a:r>
            <a:br>
              <a:rPr lang="es-ES" dirty="0" smtClean="0">
                <a:solidFill>
                  <a:srgbClr val="575757"/>
                </a:solidFill>
              </a:rPr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7445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87767"/>
          </a:xfrm>
        </p:spPr>
        <p:txBody>
          <a:bodyPr/>
          <a:lstStyle/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sz="1800" b="1" dirty="0" err="1" smtClean="0"/>
              <a:t>Task</a:t>
            </a:r>
            <a:r>
              <a:rPr lang="es-ES" sz="1800" b="1" dirty="0" smtClean="0"/>
              <a:t> Manager</a:t>
            </a:r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Herramientas</a:t>
            </a:r>
            <a:r>
              <a:rPr lang="en-GB" dirty="0" smtClean="0"/>
              <a:t> Bundling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xplicaciones</a:t>
            </a:r>
            <a:r>
              <a:rPr lang="en-GB" dirty="0" smtClean="0"/>
              <a:t> </a:t>
            </a:r>
            <a:r>
              <a:rPr lang="en-GB" dirty="0" err="1" smtClean="0"/>
              <a:t>Técnicas</a:t>
            </a:r>
            <a:endParaRPr lang="en-GB" dirty="0"/>
          </a:p>
        </p:txBody>
      </p:sp>
      <p:pic>
        <p:nvPicPr>
          <p:cNvPr id="12290" name="Picture 2" descr="Resultado de imagen de gul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47" y="3140155"/>
            <a:ext cx="1033564" cy="103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Resultado de imagen de grun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772" y="3060831"/>
            <a:ext cx="1012256" cy="119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Resultado de imagen de webpac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112" y="2556877"/>
            <a:ext cx="1737151" cy="794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0" name="Picture 12" descr="Resultado de imagen de brunch j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884" y="2518126"/>
            <a:ext cx="908462" cy="908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2" name="Picture 14" descr="Resultado de imagen de rollup j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025" y="4332867"/>
            <a:ext cx="1809806" cy="9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4" name="Picture 16" descr="Resultado de imagen de parcel j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476" y="4412687"/>
            <a:ext cx="2764473" cy="79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6" name="Picture 18" descr="Resultado de imagen de browserify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5051" y="2582960"/>
            <a:ext cx="1668562" cy="742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1"/>
          <p:cNvSpPr>
            <a:spLocks noGrp="1"/>
          </p:cNvSpPr>
          <p:nvPr>
            <p:ph sz="quarter" idx="10"/>
          </p:nvPr>
        </p:nvSpPr>
        <p:spPr>
          <a:xfrm>
            <a:off x="5796000" y="1618177"/>
            <a:ext cx="5328000" cy="487767"/>
          </a:xfrm>
        </p:spPr>
        <p:txBody>
          <a:bodyPr/>
          <a:lstStyle/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sz="1800" b="1" dirty="0" smtClean="0"/>
              <a:t>Module </a:t>
            </a:r>
            <a:r>
              <a:rPr lang="es-ES" sz="1800" b="1" dirty="0" err="1" smtClean="0"/>
              <a:t>Bundler</a:t>
            </a:r>
            <a:endParaRPr lang="es-ES" sz="1800" b="1" dirty="0" smtClean="0"/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r>
              <a:rPr lang="es-ES" dirty="0">
                <a:solidFill>
                  <a:srgbClr val="575757"/>
                </a:solidFill>
              </a:rPr>
              <a:t/>
            </a:r>
            <a:br>
              <a:rPr lang="es-ES" dirty="0">
                <a:solidFill>
                  <a:srgbClr val="575757"/>
                </a:solidFill>
              </a:rPr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6980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Ventaja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8290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Bundle </a:t>
            </a:r>
            <a:r>
              <a:rPr lang="en-GB" dirty="0" err="1" smtClean="0"/>
              <a:t>más</a:t>
            </a:r>
            <a:r>
              <a:rPr lang="en-GB" dirty="0" smtClean="0"/>
              <a:t> </a:t>
            </a:r>
            <a:r>
              <a:rPr lang="en-GB" dirty="0" err="1" smtClean="0"/>
              <a:t>pequeño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  <p:pic>
        <p:nvPicPr>
          <p:cNvPr id="3074" name="Picture 2" descr="A RealWorld Comparison of Front-End Frameworks with Benchmarks ..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1458" y="1455683"/>
            <a:ext cx="5975070" cy="406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/>
          <p:cNvSpPr/>
          <p:nvPr/>
        </p:nvSpPr>
        <p:spPr>
          <a:xfrm>
            <a:off x="438708" y="5888567"/>
            <a:ext cx="114714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>
                <a:hlinkClick r:id="rId4"/>
              </a:rPr>
              <a:t>https://www.freecodecamp.org/news/a-realworld-comparison-of-front-end-frameworks-with-benchmarks-2019-update-4be0d3c78075/</a:t>
            </a:r>
            <a:endParaRPr lang="es-ES" sz="1100" dirty="0"/>
          </a:p>
        </p:txBody>
      </p:sp>
    </p:spTree>
    <p:extLst>
      <p:ext uri="{BB962C8B-B14F-4D97-AF65-F5344CB8AC3E}">
        <p14:creationId xmlns:p14="http://schemas.microsoft.com/office/powerpoint/2010/main" val="31802008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SSR - Sapper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  <p:pic>
        <p:nvPicPr>
          <p:cNvPr id="18434" name="Picture 2" descr="Image result for ssr j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3675" y="1335358"/>
            <a:ext cx="6724650" cy="489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5268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ybernetically enhanced web apps: Svel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253" y="1483408"/>
            <a:ext cx="5825067" cy="164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4"/>
          <p:cNvSpPr>
            <a:spLocks noGrp="1"/>
          </p:cNvSpPr>
          <p:nvPr>
            <p:ph sz="quarter" idx="16"/>
          </p:nvPr>
        </p:nvSpPr>
        <p:spPr>
          <a:xfrm>
            <a:off x="0" y="3708400"/>
            <a:ext cx="12192000" cy="1526540"/>
          </a:xfrm>
        </p:spPr>
        <p:txBody>
          <a:bodyPr/>
          <a:lstStyle/>
          <a:p>
            <a:pPr algn="ctr"/>
            <a:r>
              <a:rPr lang="en-US" sz="3200" b="1" noProof="0" dirty="0" smtClean="0"/>
              <a:t>V3.22.3</a:t>
            </a:r>
          </a:p>
        </p:txBody>
      </p:sp>
    </p:spTree>
    <p:extLst>
      <p:ext uri="{BB962C8B-B14F-4D97-AF65-F5344CB8AC3E}">
        <p14:creationId xmlns:p14="http://schemas.microsoft.com/office/powerpoint/2010/main" val="86527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SSR – Sapper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  <p:pic>
        <p:nvPicPr>
          <p:cNvPr id="19458" name="Picture 2" descr="Image result for ssr j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749" y="1643469"/>
            <a:ext cx="8845242" cy="405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9671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SSR – </a:t>
            </a:r>
            <a:r>
              <a:rPr lang="en-GB" dirty="0" smtClean="0"/>
              <a:t>JAMSTACK</a:t>
            </a:r>
            <a:endParaRPr lang="en-GB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  <p:pic>
        <p:nvPicPr>
          <p:cNvPr id="3074" name="Picture 2" descr="Developer Experience for a Modern Web: JAMstack Delive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940" y="1493943"/>
            <a:ext cx="6574614" cy="361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989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Gestión</a:t>
            </a:r>
            <a:r>
              <a:rPr lang="en-GB" dirty="0" smtClean="0"/>
              <a:t> de </a:t>
            </a:r>
            <a:r>
              <a:rPr lang="en-GB" dirty="0" err="1" smtClean="0"/>
              <a:t>Estados</a:t>
            </a:r>
            <a:r>
              <a:rPr lang="en-GB" dirty="0" smtClean="0"/>
              <a:t> – No </a:t>
            </a:r>
            <a:r>
              <a:rPr lang="en-GB" dirty="0" err="1" smtClean="0"/>
              <a:t>necesita</a:t>
            </a:r>
            <a:r>
              <a:rPr lang="en-GB" dirty="0" smtClean="0"/>
              <a:t> </a:t>
            </a:r>
            <a:r>
              <a:rPr lang="en-GB" dirty="0" err="1" smtClean="0"/>
              <a:t>librerías</a:t>
            </a:r>
            <a:r>
              <a:rPr lang="en-GB" dirty="0" smtClean="0"/>
              <a:t> </a:t>
            </a:r>
            <a:r>
              <a:rPr lang="en-GB" dirty="0" err="1" smtClean="0"/>
              <a:t>externas</a:t>
            </a:r>
            <a:endParaRPr lang="en-GB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  <p:pic>
        <p:nvPicPr>
          <p:cNvPr id="17412" name="Picture 4" descr="Resultado de imagen de redux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51" y="1966937"/>
            <a:ext cx="2147471" cy="1562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Resultado de imagen de flux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859" y="2125519"/>
            <a:ext cx="2801498" cy="952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Resultado de imagen de akita stat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74" y="4002112"/>
            <a:ext cx="5831226" cy="1247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 descr="https://openexpoeurope.com/wp-content/uploads/2020/01/jesus-cuesta-frontend-4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429" y="3429000"/>
            <a:ext cx="1571625" cy="161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405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7999" y="1665288"/>
            <a:ext cx="6289481" cy="4032250"/>
          </a:xfrm>
        </p:spPr>
        <p:txBody>
          <a:bodyPr/>
          <a:lstStyle/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CSS por componentes o </a:t>
            </a:r>
            <a:r>
              <a:rPr lang="es-ES" sz="1800" b="1" dirty="0" smtClean="0"/>
              <a:t>global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Componentes </a:t>
            </a:r>
            <a:r>
              <a:rPr lang="es-ES" sz="1800" b="1" dirty="0" smtClean="0"/>
              <a:t>Reactivos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HTML, CSS y JS mismo </a:t>
            </a:r>
            <a:r>
              <a:rPr lang="es-ES" sz="1800" b="1" dirty="0" smtClean="0"/>
              <a:t>fichero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¿Sin </a:t>
            </a:r>
            <a:r>
              <a:rPr lang="es-ES" sz="1800" b="1" dirty="0" err="1"/>
              <a:t>Typescript</a:t>
            </a:r>
            <a:r>
              <a:rPr lang="es-ES" sz="1800" b="1" dirty="0" smtClean="0"/>
              <a:t>?</a:t>
            </a:r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ES" sz="1800" b="1" dirty="0" smtClean="0"/>
          </a:p>
          <a:p>
            <a:pPr marL="285750" indent="-285750">
              <a:spcBef>
                <a:spcPts val="1263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800" b="1" dirty="0"/>
              <a:t>No usa Virtual DOM</a:t>
            </a:r>
          </a:p>
          <a:p>
            <a:pPr>
              <a:spcBef>
                <a:spcPts val="1263"/>
              </a:spcBef>
              <a:spcAft>
                <a:spcPts val="0"/>
              </a:spcAft>
            </a:pP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4386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Virtual DOM</a:t>
            </a:r>
          </a:p>
          <a:p>
            <a:r>
              <a:rPr lang="en-GB" dirty="0" smtClean="0"/>
              <a:t>¿</a:t>
            </a:r>
            <a:r>
              <a:rPr lang="en-GB" dirty="0" err="1" smtClean="0"/>
              <a:t>Qué</a:t>
            </a:r>
            <a:r>
              <a:rPr lang="en-GB" dirty="0" smtClean="0"/>
              <a:t> </a:t>
            </a:r>
            <a:r>
              <a:rPr lang="en-GB" dirty="0" err="1" smtClean="0"/>
              <a:t>es</a:t>
            </a:r>
            <a:r>
              <a:rPr lang="en-GB" dirty="0" smtClean="0"/>
              <a:t> el DOM?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xplicaciones</a:t>
            </a:r>
            <a:r>
              <a:rPr lang="en-GB" dirty="0" smtClean="0"/>
              <a:t> </a:t>
            </a:r>
            <a:r>
              <a:rPr lang="en-GB" dirty="0" err="1" smtClean="0"/>
              <a:t>Técnicas</a:t>
            </a:r>
            <a:endParaRPr lang="en-GB" dirty="0"/>
          </a:p>
        </p:txBody>
      </p:sp>
      <p:pic>
        <p:nvPicPr>
          <p:cNvPr id="14342" name="Picture 6" descr="Resultado de imagen de dom html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554" y="2546721"/>
            <a:ext cx="4629150" cy="253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9346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Virtual DOM</a:t>
            </a:r>
          </a:p>
          <a:p>
            <a:r>
              <a:rPr lang="en-GB" dirty="0" smtClean="0"/>
              <a:t>¿</a:t>
            </a:r>
            <a:r>
              <a:rPr lang="en-GB" dirty="0" err="1" smtClean="0"/>
              <a:t>Qué</a:t>
            </a:r>
            <a:r>
              <a:rPr lang="en-GB" dirty="0" smtClean="0"/>
              <a:t> </a:t>
            </a:r>
            <a:r>
              <a:rPr lang="en-GB" dirty="0" err="1" smtClean="0"/>
              <a:t>es</a:t>
            </a:r>
            <a:r>
              <a:rPr lang="en-GB" dirty="0" smtClean="0"/>
              <a:t> el Virtual DOM?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xplicaciones</a:t>
            </a:r>
            <a:r>
              <a:rPr lang="en-GB" dirty="0" smtClean="0"/>
              <a:t> </a:t>
            </a:r>
            <a:r>
              <a:rPr lang="en-GB" dirty="0" err="1" smtClean="0"/>
              <a:t>Técnicas</a:t>
            </a:r>
            <a:endParaRPr lang="en-GB" dirty="0"/>
          </a:p>
        </p:txBody>
      </p:sp>
      <p:pic>
        <p:nvPicPr>
          <p:cNvPr id="14338" name="Picture 2" descr="Resultado de imagen de virtual do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909" y="2234626"/>
            <a:ext cx="5540375" cy="2764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723571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Virtual DOM</a:t>
            </a:r>
          </a:p>
          <a:p>
            <a:r>
              <a:rPr lang="en-GB" dirty="0" smtClean="0"/>
              <a:t>¿</a:t>
            </a:r>
            <a:r>
              <a:rPr lang="en-GB" dirty="0" err="1" smtClean="0"/>
              <a:t>Cómo</a:t>
            </a:r>
            <a:r>
              <a:rPr lang="en-GB" dirty="0" smtClean="0"/>
              <a:t> </a:t>
            </a:r>
            <a:r>
              <a:rPr lang="en-GB" dirty="0" err="1" smtClean="0"/>
              <a:t>trabaja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xplicaciones</a:t>
            </a:r>
            <a:r>
              <a:rPr lang="en-GB" dirty="0" smtClean="0"/>
              <a:t> </a:t>
            </a:r>
            <a:r>
              <a:rPr lang="en-GB" dirty="0" err="1" smtClean="0"/>
              <a:t>Técnicas</a:t>
            </a:r>
            <a:endParaRPr lang="en-GB" dirty="0"/>
          </a:p>
        </p:txBody>
      </p:sp>
      <p:pic>
        <p:nvPicPr>
          <p:cNvPr id="5122" name="Picture 2" descr="What is a Virtual DOM? | Frontend framewor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13" y="1930400"/>
            <a:ext cx="4834062" cy="3881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5205162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7999" y="2976880"/>
            <a:ext cx="11254101" cy="2720658"/>
          </a:xfrm>
        </p:spPr>
        <p:txBody>
          <a:bodyPr/>
          <a:lstStyle/>
          <a:p>
            <a:pPr algn="ctr">
              <a:spcBef>
                <a:spcPts val="1263"/>
              </a:spcBef>
              <a:spcAft>
                <a:spcPts val="0"/>
              </a:spcAft>
            </a:pPr>
            <a:r>
              <a:rPr lang="es-ES" sz="2800" b="1" dirty="0" smtClean="0"/>
              <a:t>¿Pre-compilación del proyecto?</a:t>
            </a:r>
            <a:r>
              <a:rPr lang="es-ES" sz="1800" dirty="0">
                <a:solidFill>
                  <a:srgbClr val="575757"/>
                </a:solidFill>
              </a:rPr>
              <a:t/>
            </a:r>
            <a:br>
              <a:rPr lang="es-ES" sz="1800" dirty="0">
                <a:solidFill>
                  <a:srgbClr val="575757"/>
                </a:solidFill>
              </a:rPr>
            </a:br>
            <a:endParaRPr lang="en-GB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4997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7999" y="2976880"/>
            <a:ext cx="11254101" cy="2720658"/>
          </a:xfrm>
        </p:spPr>
        <p:txBody>
          <a:bodyPr/>
          <a:lstStyle/>
          <a:p>
            <a:pPr algn="ctr">
              <a:spcBef>
                <a:spcPts val="1263"/>
              </a:spcBef>
              <a:spcAft>
                <a:spcPts val="0"/>
              </a:spcAft>
            </a:pPr>
            <a:r>
              <a:rPr lang="en-US" sz="1800" b="1" dirty="0"/>
              <a:t>Traditional frameworks </a:t>
            </a:r>
            <a:r>
              <a:rPr lang="en-US" sz="1800" dirty="0"/>
              <a:t>allow you to write </a:t>
            </a:r>
            <a:r>
              <a:rPr lang="en-US" sz="1800" b="1" i="1" dirty="0"/>
              <a:t>declarative</a:t>
            </a:r>
            <a:r>
              <a:rPr lang="en-US" sz="1800" b="1" dirty="0"/>
              <a:t> state-driven </a:t>
            </a:r>
            <a:r>
              <a:rPr lang="en-US" sz="1800" dirty="0"/>
              <a:t>code, but there's a </a:t>
            </a:r>
            <a:r>
              <a:rPr lang="en-US" sz="1800" b="1" dirty="0"/>
              <a:t>penalty</a:t>
            </a:r>
            <a:r>
              <a:rPr lang="en-US" sz="1800" dirty="0"/>
              <a:t>: the browser must do extra work to </a:t>
            </a:r>
            <a:r>
              <a:rPr lang="en-US" sz="1800" b="1" dirty="0"/>
              <a:t>convert those declarative structures </a:t>
            </a:r>
            <a:r>
              <a:rPr lang="en-US" sz="1800" dirty="0"/>
              <a:t>into DOM operations, using techniques like </a:t>
            </a:r>
            <a:r>
              <a:rPr lang="en-US" sz="1800" dirty="0">
                <a:hlinkClick r:id="rId3"/>
              </a:rPr>
              <a:t>virtual DOM diffing</a:t>
            </a:r>
            <a:r>
              <a:rPr lang="en-US" sz="1800" dirty="0"/>
              <a:t> that eat into your frame budget and tax the garbage collector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Pre-</a:t>
            </a:r>
            <a:r>
              <a:rPr lang="en-GB" dirty="0" err="1" smtClean="0"/>
              <a:t>compilación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36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67999" y="2976880"/>
            <a:ext cx="11254101" cy="2720658"/>
          </a:xfrm>
        </p:spPr>
        <p:txBody>
          <a:bodyPr/>
          <a:lstStyle/>
          <a:p>
            <a:pPr algn="ctr">
              <a:spcBef>
                <a:spcPts val="1263"/>
              </a:spcBef>
              <a:spcAft>
                <a:spcPts val="0"/>
              </a:spcAft>
            </a:pPr>
            <a:r>
              <a:rPr lang="en-US" sz="1800" b="1" dirty="0"/>
              <a:t>Svelte</a:t>
            </a:r>
            <a:r>
              <a:rPr lang="en-US" sz="1800" dirty="0"/>
              <a:t> runs at </a:t>
            </a:r>
            <a:r>
              <a:rPr lang="en-US" sz="1800" b="1" i="1" dirty="0"/>
              <a:t>build time</a:t>
            </a:r>
            <a:r>
              <a:rPr lang="en-US" sz="1800" dirty="0"/>
              <a:t>, converting your components into </a:t>
            </a:r>
            <a:r>
              <a:rPr lang="en-US" sz="1800" b="1" dirty="0"/>
              <a:t>highly efficient </a:t>
            </a:r>
            <a:r>
              <a:rPr lang="en-US" sz="1800" b="1" i="1" dirty="0"/>
              <a:t>imperative</a:t>
            </a:r>
            <a:r>
              <a:rPr lang="en-US" sz="1800" dirty="0"/>
              <a:t> code that surgically updates the DOM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Pre-</a:t>
            </a:r>
            <a:r>
              <a:rPr lang="en-GB" dirty="0" err="1" smtClean="0"/>
              <a:t>compilación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entaja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19567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374900" y="2003729"/>
            <a:ext cx="4755866" cy="323121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noProof="0" dirty="0" err="1" smtClean="0"/>
              <a:t>Por</a:t>
            </a:r>
            <a:r>
              <a:rPr lang="en-US" sz="2400" b="1" noProof="0" dirty="0" smtClean="0"/>
              <a:t> </a:t>
            </a:r>
            <a:r>
              <a:rPr lang="en-US" sz="2400" b="1" noProof="0" dirty="0" err="1" smtClean="0"/>
              <a:t>qué</a:t>
            </a:r>
            <a:r>
              <a:rPr lang="en-US" sz="2400" b="1" noProof="0" dirty="0" smtClean="0"/>
              <a:t> Svel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noProof="0" dirty="0" err="1" smtClean="0"/>
              <a:t>Qué</a:t>
            </a:r>
            <a:r>
              <a:rPr lang="en-US" sz="2400" b="1" noProof="0" dirty="0" smtClean="0"/>
              <a:t> </a:t>
            </a:r>
            <a:r>
              <a:rPr lang="en-US" sz="2400" b="1" noProof="0" dirty="0" err="1" smtClean="0"/>
              <a:t>es</a:t>
            </a:r>
            <a:r>
              <a:rPr lang="en-US" sz="2400" b="1" noProof="0" dirty="0" smtClean="0"/>
              <a:t> Svel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noProof="0" dirty="0" smtClean="0"/>
              <a:t>Demo Svelt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err="1" smtClean="0"/>
              <a:t>Índice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vel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3642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Integracio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89852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Storyboo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tegraciones</a:t>
            </a:r>
            <a:endParaRPr lang="en-GB" dirty="0"/>
          </a:p>
        </p:txBody>
      </p:sp>
      <p:pic>
        <p:nvPicPr>
          <p:cNvPr id="20484" name="Picture 4" descr="Image result for storybook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902" y="2198450"/>
            <a:ext cx="1964987" cy="1964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Image result for storybook reac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797" y="1077406"/>
            <a:ext cx="6098897" cy="470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385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Graphql</a:t>
            </a:r>
            <a:r>
              <a:rPr lang="en-GB" dirty="0" smtClean="0"/>
              <a:t> &amp; Apollo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tegraciones</a:t>
            </a:r>
            <a:endParaRPr lang="en-GB" dirty="0"/>
          </a:p>
        </p:txBody>
      </p:sp>
      <p:pic>
        <p:nvPicPr>
          <p:cNvPr id="22532" name="Picture 4" descr="Image result for graphql apoll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610" y="2007421"/>
            <a:ext cx="3990975" cy="248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15134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Graphql</a:t>
            </a:r>
            <a:r>
              <a:rPr lang="en-GB" dirty="0" smtClean="0"/>
              <a:t> &amp; Apollo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tegraciones</a:t>
            </a:r>
            <a:endParaRPr lang="en-GB" dirty="0"/>
          </a:p>
        </p:txBody>
      </p:sp>
      <p:pic>
        <p:nvPicPr>
          <p:cNvPr id="21508" name="Picture 4" descr="Image result for graphql apoll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001" y="1287462"/>
            <a:ext cx="740092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8115843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RXJ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tegraciones</a:t>
            </a:r>
            <a:endParaRPr lang="en-GB" dirty="0"/>
          </a:p>
        </p:txBody>
      </p:sp>
      <p:pic>
        <p:nvPicPr>
          <p:cNvPr id="6146" name="Picture 2" descr="Diferencias entre map, flatMap y switchMap en RxJS - Nicolás ..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399" y="2493816"/>
            <a:ext cx="7880985" cy="1848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710728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Material - </a:t>
            </a:r>
            <a:r>
              <a:rPr lang="en-GB" dirty="0" err="1" smtClean="0"/>
              <a:t>Smelte</a:t>
            </a:r>
            <a:endParaRPr lang="en-GB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tegraciones</a:t>
            </a:r>
            <a:endParaRPr lang="en-GB" dirty="0"/>
          </a:p>
        </p:txBody>
      </p:sp>
      <p:pic>
        <p:nvPicPr>
          <p:cNvPr id="4098" name="Picture 2" descr="Smelte logo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775" y="2584450"/>
            <a:ext cx="182880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15366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DEM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06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nlac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1561977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88366" y="1328871"/>
            <a:ext cx="8330322" cy="4708981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3F413A"/>
                </a:solidFill>
                <a:latin typeface="Lato"/>
              </a:rPr>
              <a:t>Svelte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"/>
              </a:rPr>
              <a:t>https://svelte.dev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3"/>
              </a:rPr>
              <a:t>https://svelte.dev/tutorial/basic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4"/>
              </a:rPr>
              <a:t>http://</a:t>
            </a:r>
            <a:r>
              <a:rPr lang="es-ES" sz="1200" dirty="0" smtClean="0">
                <a:solidFill>
                  <a:srgbClr val="FF7E00"/>
                </a:solidFill>
                <a:latin typeface="Lato"/>
                <a:hlinkClick r:id="rId4"/>
              </a:rPr>
              <a:t>svelte.es</a:t>
            </a:r>
            <a:endParaRPr lang="es-ES" sz="1200" dirty="0" smtClean="0">
              <a:solidFill>
                <a:srgbClr val="FF7E00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hlinkClick r:id="rId5"/>
              </a:rPr>
              <a:t>https://svelte-native.technology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6"/>
              </a:rPr>
              <a:t>https://svelte.dev/doc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7"/>
              </a:rPr>
              <a:t>https://github.com/sveltejs/svelte/issues/2621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8"/>
              </a:rPr>
              <a:t>https://github.com/sveltejs/sapper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9"/>
              </a:rPr>
              <a:t>https://svelte.dev/examples#hello-world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0"/>
              </a:rPr>
              <a:t>https://svelte.dev/repl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1"/>
              </a:rPr>
              <a:t>https://discordapp.com/invite/yy75DK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FF7E00"/>
                </a:solidFill>
                <a:latin typeface="Lato"/>
                <a:hlinkClick r:id="rId12"/>
              </a:rPr>
              <a:t>Rehinking</a:t>
            </a:r>
            <a:r>
              <a:rPr lang="es-ES" sz="1200" dirty="0">
                <a:solidFill>
                  <a:srgbClr val="FF7E00"/>
                </a:solidFill>
                <a:latin typeface="Lato"/>
                <a:hlinkClick r:id="rId12"/>
              </a:rPr>
              <a:t> </a:t>
            </a:r>
            <a:r>
              <a:rPr lang="es-ES" sz="1200" dirty="0" err="1">
                <a:solidFill>
                  <a:srgbClr val="FF7E00"/>
                </a:solidFill>
                <a:latin typeface="Lato"/>
                <a:hlinkClick r:id="rId12"/>
              </a:rPr>
              <a:t>Reactitivity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3"/>
              </a:rPr>
              <a:t>https://github.com/EmilTholin/svelte-routing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4"/>
              </a:rPr>
              <a:t>https://svelte.dev/tutorial/writable-store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3F413A"/>
                </a:solidFill>
                <a:latin typeface="Lato"/>
              </a:rPr>
              <a:t>Visual Studio </a:t>
            </a:r>
            <a:r>
              <a:rPr lang="es-ES" sz="1200" dirty="0" err="1">
                <a:solidFill>
                  <a:srgbClr val="3F413A"/>
                </a:solidFill>
                <a:latin typeface="Lato"/>
              </a:rPr>
              <a:t>Code</a:t>
            </a:r>
            <a:r>
              <a:rPr lang="es-ES" sz="1200" dirty="0">
                <a:solidFill>
                  <a:srgbClr val="3F413A"/>
                </a:solidFill>
                <a:latin typeface="Lato"/>
              </a:rPr>
              <a:t> y </a:t>
            </a:r>
            <a:r>
              <a:rPr lang="es-ES" sz="1200" dirty="0" err="1">
                <a:solidFill>
                  <a:srgbClr val="3F413A"/>
                </a:solidFill>
                <a:latin typeface="Lato"/>
              </a:rPr>
              <a:t>Plugin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5"/>
              </a:rPr>
              <a:t>https://code.visualstudio.com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6"/>
              </a:rPr>
              <a:t>https://marketplace.visualstudio.com/items?itemName=JamesBirtles.svelte-vscode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7"/>
              </a:rPr>
              <a:t>https://marketplace.visualstudio.com/items?itemName=ardenivanov.svelte-intellisense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8"/>
              </a:rPr>
              <a:t>https://marketplace.visualstudio.com/items?itemName=fivethree.vscode-svelte-snippet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3F413A"/>
                </a:solidFill>
                <a:latin typeface="Lato"/>
              </a:rPr>
              <a:t>Yarn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19"/>
              </a:rPr>
              <a:t>https://yarnpkg.com/lang/en</a:t>
            </a:r>
            <a:r>
              <a:rPr lang="es-ES" sz="1200" dirty="0" smtClean="0">
                <a:solidFill>
                  <a:srgbClr val="FF7E00"/>
                </a:solidFill>
                <a:latin typeface="Lato"/>
                <a:hlinkClick r:id="rId19"/>
              </a:rPr>
              <a:t>/</a:t>
            </a:r>
            <a:endParaRPr lang="es-ES" sz="1200" dirty="0" smtClean="0">
              <a:solidFill>
                <a:srgbClr val="FF7E00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FF7E00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200" dirty="0" smtClean="0">
              <a:solidFill>
                <a:srgbClr val="FF7E00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200" dirty="0">
              <a:solidFill>
                <a:srgbClr val="FF7E00"/>
              </a:solidFill>
              <a:latin typeface="Lat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s-ES" sz="1200" dirty="0" err="1" smtClean="0">
                <a:solidFill>
                  <a:srgbClr val="3F413A"/>
                </a:solidFill>
                <a:latin typeface="Lato"/>
              </a:rPr>
              <a:t>Bundlers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0"/>
              </a:rPr>
              <a:t>https://rollupjs.org/guide/en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1"/>
              </a:rPr>
              <a:t>https://parceljs.org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2"/>
              </a:rPr>
              <a:t>https://webpack.js.org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3"/>
              </a:rPr>
              <a:t>https://medium.com/js-imaginea/comparing-bundlers-webpack-rollup-parcel-f8f5dc609cfd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3F413A"/>
                </a:solidFill>
                <a:latin typeface="Lato"/>
              </a:rPr>
              <a:t>Otr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4"/>
              </a:rPr>
              <a:t>https://es.reactjs.org/docs/components-and-props.html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5"/>
              </a:rPr>
              <a:t>https://github.com/Rich-Harris/degit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3F413A"/>
                </a:solidFill>
                <a:latin typeface="Lato"/>
              </a:rPr>
              <a:t>Otros Artículos </a:t>
            </a:r>
            <a:r>
              <a:rPr lang="es-ES" sz="1200" dirty="0" err="1">
                <a:solidFill>
                  <a:srgbClr val="3F413A"/>
                </a:solidFill>
                <a:latin typeface="Lato"/>
              </a:rPr>
              <a:t>Svelte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6"/>
              </a:rPr>
              <a:t>https://objectcomputing.com/resources/publications/sett/july-2019-web-dev-simplified-with-svelte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7"/>
              </a:rPr>
              <a:t>https://www.nocountryforgeeks.com/jugando-con-svelte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8"/>
              </a:rPr>
              <a:t>https://platzi.com/blog/svelte-un-nuevo-framework-para-crear-aplicaciones-web-mejoradas/</a:t>
            </a:r>
            <a:endParaRPr lang="es-ES" sz="1200" dirty="0">
              <a:solidFill>
                <a:srgbClr val="3F413A"/>
              </a:solidFill>
              <a:latin typeface="Lato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rgbClr val="FF7E00"/>
                </a:solidFill>
                <a:latin typeface="Lato"/>
                <a:hlinkClick r:id="rId29"/>
              </a:rPr>
              <a:t>https://midu.dev/crea-un-nuevo-proyect-con-svelte-3</a:t>
            </a:r>
            <a:r>
              <a:rPr lang="es-ES" sz="1050" dirty="0">
                <a:solidFill>
                  <a:srgbClr val="FF7E00"/>
                </a:solidFill>
                <a:latin typeface="Lato"/>
                <a:hlinkClick r:id="rId29"/>
              </a:rPr>
              <a:t>/</a:t>
            </a:r>
            <a:endParaRPr lang="es-ES" sz="1050" b="0" i="0" dirty="0">
              <a:solidFill>
                <a:srgbClr val="3F413A"/>
              </a:solidFill>
              <a:effectLst/>
              <a:latin typeface="Lato"/>
            </a:endParaRPr>
          </a:p>
        </p:txBody>
      </p:sp>
      <p:sp>
        <p:nvSpPr>
          <p:cNvPr id="4" name="Title 4"/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Enla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183035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Gracias </a:t>
            </a:r>
            <a:r>
              <a:rPr lang="en-US" noProof="0" dirty="0" err="1" smtClean="0"/>
              <a:t>por</a:t>
            </a:r>
            <a:r>
              <a:rPr lang="en-US" noProof="0" dirty="0" smtClean="0"/>
              <a:t> </a:t>
            </a:r>
            <a:r>
              <a:rPr lang="en-US" noProof="0" dirty="0" err="1" smtClean="0"/>
              <a:t>asisti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015334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Librería</a:t>
            </a:r>
            <a:r>
              <a:rPr lang="en-US" noProof="0" dirty="0" smtClean="0"/>
              <a:t> JS</a:t>
            </a:r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smtClean="0"/>
              <a:t>¿A </a:t>
            </a:r>
            <a:r>
              <a:rPr lang="en-US" noProof="0" dirty="0" err="1" smtClean="0"/>
              <a:t>quién</a:t>
            </a:r>
            <a:r>
              <a:rPr lang="en-US" noProof="0" dirty="0" smtClean="0"/>
              <a:t> se </a:t>
            </a:r>
            <a:r>
              <a:rPr lang="en-US" noProof="0" dirty="0" err="1" smtClean="0"/>
              <a:t>parece</a:t>
            </a:r>
            <a:r>
              <a:rPr lang="en-US" noProof="0" dirty="0" smtClean="0"/>
              <a:t>?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32219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61;p1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967518" y="693913"/>
            <a:ext cx="3546464" cy="5111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37783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66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712416" y="2588484"/>
            <a:ext cx="1521125" cy="1521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67;p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753291" y="1580946"/>
            <a:ext cx="1121200" cy="112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68;p1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83963" y="3188321"/>
            <a:ext cx="2975075" cy="20458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1811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67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930262" y="1987505"/>
            <a:ext cx="2348051" cy="235211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68;p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478553" y="1017588"/>
            <a:ext cx="6230492" cy="429194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Content Placeholder 4"/>
          <p:cNvSpPr txBox="1">
            <a:spLocks/>
          </p:cNvSpPr>
          <p:nvPr/>
        </p:nvSpPr>
        <p:spPr>
          <a:xfrm>
            <a:off x="2374900" y="4339618"/>
            <a:ext cx="1505337" cy="38345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smtClean="0"/>
              <a:t>VUEJS</a:t>
            </a:r>
            <a:endParaRPr lang="en-US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841130" y="4418233"/>
            <a:ext cx="1505337" cy="38345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 smtClean="0"/>
              <a:t>REA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2250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82;p21"/>
          <p:cNvSpPr txBox="1">
            <a:spLocks/>
          </p:cNvSpPr>
          <p:nvPr/>
        </p:nvSpPr>
        <p:spPr>
          <a:xfrm>
            <a:off x="1200647" y="1470991"/>
            <a:ext cx="9414343" cy="43493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dirty="0" smtClean="0"/>
              <a:t>“</a:t>
            </a:r>
            <a:r>
              <a:rPr lang="en-US" sz="2000" i="1" dirty="0" smtClean="0"/>
              <a:t>Svelte is a radical new approach to building user interfaces. Whereas traditional frameworks like </a:t>
            </a:r>
            <a:r>
              <a:rPr lang="en-US" sz="3200" b="1" i="1" dirty="0" smtClean="0">
                <a:solidFill>
                  <a:srgbClr val="9FC5E8"/>
                </a:solidFill>
              </a:rPr>
              <a:t>React and </a:t>
            </a:r>
            <a:r>
              <a:rPr lang="en-US" sz="3200" b="1" i="1" dirty="0" err="1" smtClean="0">
                <a:solidFill>
                  <a:srgbClr val="9FC5E8"/>
                </a:solidFill>
              </a:rPr>
              <a:t>Vue</a:t>
            </a:r>
            <a:r>
              <a:rPr lang="en-US" sz="2000" i="1" dirty="0" smtClean="0"/>
              <a:t> do the bulk of their </a:t>
            </a:r>
            <a:r>
              <a:rPr lang="en-US" sz="4000" b="1" i="1" dirty="0" smtClean="0">
                <a:solidFill>
                  <a:srgbClr val="A4C2F4"/>
                </a:solidFill>
              </a:rPr>
              <a:t>work in the browser</a:t>
            </a:r>
            <a:r>
              <a:rPr lang="en-US" sz="2000" i="1" dirty="0" smtClean="0"/>
              <a:t>, </a:t>
            </a:r>
            <a:r>
              <a:rPr lang="en-US" sz="3200" b="1" i="1" dirty="0" smtClean="0">
                <a:solidFill>
                  <a:srgbClr val="F6B26B"/>
                </a:solidFill>
              </a:rPr>
              <a:t>Svelte </a:t>
            </a:r>
            <a:r>
              <a:rPr lang="en-US" sz="2000" i="1" dirty="0" smtClean="0"/>
              <a:t>shifts that </a:t>
            </a:r>
            <a:r>
              <a:rPr lang="en-US" sz="3200" i="1" dirty="0" smtClean="0">
                <a:solidFill>
                  <a:srgbClr val="F6B26B"/>
                </a:solidFill>
              </a:rPr>
              <a:t>work </a:t>
            </a:r>
            <a:r>
              <a:rPr lang="en-US" sz="2000" i="1" dirty="0" smtClean="0"/>
              <a:t>into a compile step that happens </a:t>
            </a:r>
            <a:r>
              <a:rPr lang="en-US" sz="3200" b="1" i="1" dirty="0" smtClean="0">
                <a:solidFill>
                  <a:srgbClr val="F6B26B"/>
                </a:solidFill>
              </a:rPr>
              <a:t>when you build your app</a:t>
            </a:r>
            <a:r>
              <a:rPr lang="en-US" sz="2000" i="1" dirty="0" smtClean="0"/>
              <a:t>.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r>
              <a:rPr lang="en-US" sz="2000" i="1" dirty="0" smtClean="0"/>
              <a:t>Instead of using techniques like virtual DOM diffing, Svelte writes code that surgically updates the DOM when the state of your app changes.</a:t>
            </a:r>
            <a:r>
              <a:rPr lang="en-US" sz="2000" dirty="0" smtClean="0"/>
              <a:t>”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90693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ción7" id="{901BC479-0F62-FE41-9812-15708A6B4146}" vid="{856E44EC-3BDA-0C4E-B66D-0C14D47972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veltejs</Template>
  <TotalTime>577</TotalTime>
  <Words>469</Words>
  <Application>Microsoft Office PowerPoint</Application>
  <PresentationFormat>Panorámica</PresentationFormat>
  <Paragraphs>198</Paragraphs>
  <Slides>49</Slides>
  <Notes>35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9</vt:i4>
      </vt:variant>
    </vt:vector>
  </HeadingPairs>
  <TitlesOfParts>
    <vt:vector size="55" baseType="lpstr">
      <vt:lpstr>Arial</vt:lpstr>
      <vt:lpstr>Lato</vt:lpstr>
      <vt:lpstr>Open Sans</vt:lpstr>
      <vt:lpstr>Verdana</vt:lpstr>
      <vt:lpstr>Deloitte_US_Onscreen</vt:lpstr>
      <vt:lpstr>think-cell Slide</vt:lpstr>
      <vt:lpstr>  </vt:lpstr>
      <vt:lpstr>Presentación de PowerPoint</vt:lpstr>
      <vt:lpstr>Presentación de PowerPoint</vt:lpstr>
      <vt:lpstr>Svelte</vt:lpstr>
      <vt:lpstr>Librería JS</vt:lpstr>
      <vt:lpstr>Presentación de PowerPoint</vt:lpstr>
      <vt:lpstr>Presentación de PowerPoint</vt:lpstr>
      <vt:lpstr>Presentación de PowerPoint</vt:lpstr>
      <vt:lpstr>Presentación de PowerPoint</vt:lpstr>
      <vt:lpstr>Quién Usa Svelte</vt:lpstr>
      <vt:lpstr>Presentación de PowerPoint</vt:lpstr>
      <vt:lpstr>Dónde se está hablando de él</vt:lpstr>
      <vt:lpstr>Presentación de PowerPoint</vt:lpstr>
      <vt:lpstr>Quién está detrás</vt:lpstr>
      <vt:lpstr>Presentación de PowerPoint</vt:lpstr>
      <vt:lpstr>Presentación de PowerPoint</vt:lpstr>
      <vt:lpstr>Cuánto tiempo Tiene</vt:lpstr>
      <vt:lpstr>Presentación de PowerPoint</vt:lpstr>
      <vt:lpstr>Cómo Funciona</vt:lpstr>
      <vt:lpstr>Presentación de PowerPoint</vt:lpstr>
      <vt:lpstr>Presentación de PowerPoint</vt:lpstr>
      <vt:lpstr>Requisitos técnicos</vt:lpstr>
      <vt:lpstr>Requisitos técnicos</vt:lpstr>
      <vt:lpstr>Desventajas</vt:lpstr>
      <vt:lpstr>Desventajas</vt:lpstr>
      <vt:lpstr>Explicaciones Técnicas</vt:lpstr>
      <vt:lpstr>Ventajas</vt:lpstr>
      <vt:lpstr>Ventajas</vt:lpstr>
      <vt:lpstr>Ventajas</vt:lpstr>
      <vt:lpstr>Ventajas</vt:lpstr>
      <vt:lpstr>Ventajas</vt:lpstr>
      <vt:lpstr>Ventajas</vt:lpstr>
      <vt:lpstr>Ventajas</vt:lpstr>
      <vt:lpstr>Explicaciones Técnicas</vt:lpstr>
      <vt:lpstr>Explicaciones Técnicas</vt:lpstr>
      <vt:lpstr>Explicaciones Técnicas</vt:lpstr>
      <vt:lpstr>Ventajas</vt:lpstr>
      <vt:lpstr>Ventajas</vt:lpstr>
      <vt:lpstr>Ventajas</vt:lpstr>
      <vt:lpstr>Integraciones</vt:lpstr>
      <vt:lpstr>Integraciones</vt:lpstr>
      <vt:lpstr>Integraciones</vt:lpstr>
      <vt:lpstr>Integraciones</vt:lpstr>
      <vt:lpstr>Integraciones</vt:lpstr>
      <vt:lpstr>Integraciones</vt:lpstr>
      <vt:lpstr>DEMO</vt:lpstr>
      <vt:lpstr>Enlaces</vt:lpstr>
      <vt:lpstr>Presentación de PowerPoint</vt:lpstr>
      <vt:lpstr>Gracias por asistir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velteJS</dc:title>
  <dc:creator>Cuesta Arza, Jesus</dc:creator>
  <cp:lastModifiedBy>Jesus Cuesta Arza</cp:lastModifiedBy>
  <cp:revision>66</cp:revision>
  <cp:lastPrinted>2014-06-25T02:16:22Z</cp:lastPrinted>
  <dcterms:created xsi:type="dcterms:W3CDTF">2020-02-25T09:38:02Z</dcterms:created>
  <dcterms:modified xsi:type="dcterms:W3CDTF">2020-05-28T16:50:14Z</dcterms:modified>
</cp:coreProperties>
</file>